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13"/>
  </p:notesMasterIdLst>
  <p:handoutMasterIdLst>
    <p:handoutMasterId r:id="rId14"/>
  </p:handoutMasterIdLst>
  <p:sldIdLst>
    <p:sldId id="261" r:id="rId5"/>
    <p:sldId id="1632" r:id="rId6"/>
    <p:sldId id="1639" r:id="rId7"/>
    <p:sldId id="1641" r:id="rId8"/>
    <p:sldId id="1640" r:id="rId9"/>
    <p:sldId id="1642" r:id="rId10"/>
    <p:sldId id="1638" r:id="rId11"/>
    <p:sldId id="456" r:id="rId12"/>
  </p:sldIdLst>
  <p:sldSz cx="11522075" cy="6480175"/>
  <p:notesSz cx="6858000" cy="9144000"/>
  <p:custDataLst>
    <p:tags r:id="rId15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F4C3BB7-F2A1-478C-8FD7-6D7C9E285BAB}">
          <p14:sldIdLst>
            <p14:sldId id="261"/>
            <p14:sldId id="1632"/>
            <p14:sldId id="1639"/>
            <p14:sldId id="1641"/>
            <p14:sldId id="1640"/>
            <p14:sldId id="1642"/>
            <p14:sldId id="1638"/>
            <p14:sldId id="45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89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E50073"/>
    <a:srgbClr val="0070C0"/>
    <a:srgbClr val="299F86"/>
    <a:srgbClr val="8FE2FF"/>
    <a:srgbClr val="FF0090"/>
    <a:srgbClr val="000000"/>
    <a:srgbClr val="E20000"/>
    <a:srgbClr val="992C99"/>
    <a:srgbClr val="4B4B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1A23F-2F89-4679-A51A-838612D3FE61}" v="18" dt="2020-01-08T10:29:54.8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6" autoAdjust="0"/>
    <p:restoredTop sz="93750" autoAdjust="0"/>
  </p:normalViewPr>
  <p:slideViewPr>
    <p:cSldViewPr snapToGrid="0" snapToObjects="1">
      <p:cViewPr varScale="1">
        <p:scale>
          <a:sx n="66" d="100"/>
          <a:sy n="66" d="100"/>
        </p:scale>
        <p:origin x="788" y="5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89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-117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1660" y="24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#›</a:t>
            </a:fld>
            <a:endParaRPr lang="de-DE" dirty="0">
              <a:latin typeface="TeleGrotesk Next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82600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8262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947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74738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82600" y="241300"/>
            <a:ext cx="265113" cy="323850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5254625" y="379413"/>
            <a:ext cx="1119188" cy="85725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5" userDrawn="1">
          <p15:clr>
            <a:srgbClr val="F26B43"/>
          </p15:clr>
        </p15:guide>
        <p15:guide id="2" pos="4015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‹#›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TeleGrotesk Next" pitchFamily="2" charset="0"/>
                <a:sym typeface="+mn-lt"/>
              </a:rPr>
              <a:t>tt.mm.jjjj</a:t>
            </a:r>
            <a:endParaRPr lang="en-US" dirty="0">
              <a:latin typeface="TeleGrotesk Next" pitchFamily="2" charset="0"/>
              <a:sym typeface="+mn-lt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TeleGrotesk Next" pitchFamily="2" charset="0"/>
                <a:sym typeface="+mn-lt"/>
              </a:rPr>
              <a:t>– </a:t>
            </a:r>
            <a:r>
              <a:rPr lang="en-US" dirty="0" err="1">
                <a:latin typeface="TeleGrotesk Next" pitchFamily="2" charset="0"/>
                <a:sym typeface="+mn-lt"/>
              </a:rPr>
              <a:t>Streng</a:t>
            </a:r>
            <a:r>
              <a:rPr lang="en-US" dirty="0">
                <a:latin typeface="TeleGrotesk Next" pitchFamily="2" charset="0"/>
                <a:sym typeface="+mn-lt"/>
              </a:rPr>
              <a:t> </a:t>
            </a:r>
            <a:r>
              <a:rPr lang="en-US" dirty="0" err="1">
                <a:latin typeface="TeleGrotesk Next" pitchFamily="2" charset="0"/>
                <a:sym typeface="+mn-lt"/>
              </a:rPr>
              <a:t>vertraulich</a:t>
            </a:r>
            <a:r>
              <a:rPr lang="en-US" dirty="0">
                <a:latin typeface="TeleGrotesk Next" pitchFamily="2" charset="0"/>
                <a:sym typeface="+mn-lt"/>
              </a:rPr>
              <a:t>, </a:t>
            </a:r>
            <a:r>
              <a:rPr lang="en-US" dirty="0" err="1">
                <a:latin typeface="TeleGrotesk Next" pitchFamily="2" charset="0"/>
                <a:sym typeface="+mn-lt"/>
              </a:rPr>
              <a:t>Vertraulich</a:t>
            </a:r>
            <a:r>
              <a:rPr lang="en-US" dirty="0">
                <a:latin typeface="TeleGrotesk Next" pitchFamily="2" charset="0"/>
                <a:sym typeface="+mn-lt"/>
              </a:rPr>
              <a:t>, Intern – </a:t>
            </a:r>
            <a:r>
              <a:rPr lang="en-US" dirty="0" err="1">
                <a:latin typeface="TeleGrotesk Next" pitchFamily="2" charset="0"/>
                <a:sym typeface="+mn-lt"/>
              </a:rPr>
              <a:t>Autor</a:t>
            </a:r>
            <a:r>
              <a:rPr lang="en-US" dirty="0">
                <a:latin typeface="TeleGrotesk Next" pitchFamily="2" charset="0"/>
                <a:sym typeface="+mn-lt"/>
              </a:rPr>
              <a:t> / </a:t>
            </a:r>
            <a:r>
              <a:rPr lang="en-US" dirty="0" err="1">
                <a:latin typeface="TeleGrotesk Next" pitchFamily="2" charset="0"/>
                <a:sym typeface="+mn-lt"/>
              </a:rPr>
              <a:t>Thema</a:t>
            </a:r>
            <a:r>
              <a:rPr lang="en-US" dirty="0">
                <a:latin typeface="TeleGrotesk Next" pitchFamily="2" charset="0"/>
                <a:sym typeface="+mn-lt"/>
              </a:rPr>
              <a:t> der </a:t>
            </a:r>
            <a:r>
              <a:rPr lang="en-US" dirty="0" err="1">
                <a:latin typeface="TeleGrotesk Next" pitchFamily="2" charset="0"/>
                <a:sym typeface="+mn-lt"/>
              </a:rPr>
              <a:t>Präsentation</a:t>
            </a:r>
            <a:endParaRPr lang="en-US" dirty="0">
              <a:latin typeface="TeleGrotesk Next" pitchFamily="2" charset="0"/>
              <a:sym typeface="+mn-l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1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4663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Grotesk Next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Grotesk Nex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169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latin typeface="TeleGrotesk Next" pitchFamily="2" charset="0"/>
                <a:sym typeface="+mn-lt"/>
              </a:rPr>
              <a:pPr/>
              <a:t>1/13/2020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13.08.2007</a:t>
            </a: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latin typeface="TeleGrotesk Next" pitchFamily="2" charset="0"/>
                <a:cs typeface="Arial Unicode MS"/>
                <a:sym typeface="+mn-lt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5</a:t>
            </a:fld>
            <a:endParaRPr lang="en-US" sz="600" dirty="0">
              <a:latin typeface="TeleGrotesk Next" pitchFamily="2" charset="0"/>
              <a:cs typeface="Arial Unicode MS"/>
              <a:sym typeface="+mn-lt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Autor</a:t>
            </a: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 / </a:t>
            </a: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Thema</a:t>
            </a: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 der </a:t>
            </a: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Präsentation</a:t>
            </a:r>
            <a:endParaRPr lang="en-US" sz="600" dirty="0">
              <a:latin typeface="TeleGrotesk Next" pitchFamily="2" charset="0"/>
              <a:cs typeface="Arial Unicode MS"/>
              <a:sym typeface="+mn-lt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513" y="755650"/>
            <a:ext cx="6530975" cy="3673475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161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latin typeface="TeleGrotesk Next" pitchFamily="2" charset="0"/>
                <a:sym typeface="+mn-lt"/>
              </a:rPr>
              <a:pPr/>
              <a:t>1/13/2020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13.08.2007</a:t>
            </a: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latin typeface="TeleGrotesk Next" pitchFamily="2" charset="0"/>
                <a:cs typeface="Arial Unicode MS"/>
                <a:sym typeface="+mn-lt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6</a:t>
            </a:fld>
            <a:endParaRPr lang="en-US" sz="600" dirty="0">
              <a:latin typeface="TeleGrotesk Next" pitchFamily="2" charset="0"/>
              <a:cs typeface="Arial Unicode MS"/>
              <a:sym typeface="+mn-lt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Autor</a:t>
            </a: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 / </a:t>
            </a: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Thema</a:t>
            </a: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 der </a:t>
            </a: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Präsentation</a:t>
            </a:r>
            <a:endParaRPr lang="en-US" sz="600" dirty="0">
              <a:latin typeface="TeleGrotesk Next" pitchFamily="2" charset="0"/>
              <a:cs typeface="Arial Unicode MS"/>
              <a:sym typeface="+mn-lt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513" y="755650"/>
            <a:ext cx="6530975" cy="3673475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654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latin typeface="TeleGrotesk Next" pitchFamily="2" charset="0"/>
                <a:sym typeface="+mn-lt"/>
              </a:rPr>
              <a:pPr/>
              <a:t>1/13/2020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89318" y="334728"/>
            <a:ext cx="2025809" cy="11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13.08.2007</a:t>
            </a: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89318" y="506347"/>
            <a:ext cx="2025809" cy="120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latin typeface="TeleGrotesk Next" pitchFamily="2" charset="0"/>
                <a:cs typeface="Arial Unicode MS"/>
                <a:sym typeface="+mn-lt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7</a:t>
            </a:fld>
            <a:endParaRPr lang="en-US" sz="600" dirty="0">
              <a:latin typeface="TeleGrotesk Next" pitchFamily="2" charset="0"/>
              <a:cs typeface="Arial Unicode MS"/>
              <a:sym typeface="+mn-lt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89318" y="421245"/>
            <a:ext cx="2025809" cy="11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Autor</a:t>
            </a: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 / </a:t>
            </a: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Thema</a:t>
            </a:r>
            <a:r>
              <a:rPr lang="en-US" sz="600" dirty="0">
                <a:latin typeface="TeleGrotesk Next" pitchFamily="2" charset="0"/>
                <a:cs typeface="Arial Unicode MS"/>
                <a:sym typeface="+mn-lt"/>
              </a:rPr>
              <a:t> der </a:t>
            </a:r>
            <a:r>
              <a:rPr lang="en-US" sz="600" dirty="0" err="1">
                <a:latin typeface="TeleGrotesk Next" pitchFamily="2" charset="0"/>
                <a:cs typeface="Arial Unicode MS"/>
                <a:sym typeface="+mn-lt"/>
              </a:rPr>
              <a:t>Präsentation</a:t>
            </a:r>
            <a:endParaRPr lang="en-US" sz="600" dirty="0">
              <a:latin typeface="TeleGrotesk Next" pitchFamily="2" charset="0"/>
              <a:cs typeface="Arial Unicode MS"/>
              <a:sym typeface="+mn-lt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513" y="755650"/>
            <a:ext cx="6530975" cy="3673475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6543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8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618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1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0187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noProof="0" dirty="0"/>
              <a:t>next Ultra </a:t>
            </a:r>
            <a:br>
              <a:rPr lang="en-US" noProof="0" dirty="0"/>
            </a:br>
            <a:r>
              <a:rPr lang="en-US" noProof="0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81158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474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4000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7951720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448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next (45) 60 PT</a:t>
            </a:r>
          </a:p>
        </p:txBody>
      </p:sp>
    </p:spTree>
    <p:extLst>
      <p:ext uri="{BB962C8B-B14F-4D97-AF65-F5344CB8AC3E}">
        <p14:creationId xmlns:p14="http://schemas.microsoft.com/office/powerpoint/2010/main" val="1267154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931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83ED57A-5B0E-4D83-ACA9-00A91C425237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854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74B34218-034E-4867-B1C2-92113B96520A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875294" y="5490696"/>
            <a:ext cx="5148000" cy="311932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932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AAFFB1C0-BCE7-4B6C-9964-A393DCC8E4A8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46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A4DFE314-AB51-4757-A2DA-56FDFBFAE1DB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107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91683B4D-1224-4B2E-AA08-752377598737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789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en-US" dirty="0" err="1"/>
              <a:t>Bild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7351EC7B-96ED-40D4-8050-FE29E237BF87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302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en-US" dirty="0" err="1"/>
              <a:t>Bild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90FDA16-2623-415A-A779-B8628DC66E89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774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en-US" dirty="0" err="1"/>
              <a:t>Bild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7E53D333-6AC6-4D1A-9139-C3F80DE45C31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912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eaLnBrk="1">
              <a:buNone/>
            </a:pPr>
            <a:endParaRPr lang="en-US" sz="1800" dirty="0"/>
          </a:p>
        </p:txBody>
      </p: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788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532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A5E54455-C590-43B0-99A4-A654A45D26CA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195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next ULTRA </a:t>
            </a:r>
            <a:br>
              <a:rPr lang="en-US" sz="4800" dirty="0"/>
            </a:br>
            <a:r>
              <a:rPr lang="en-US" sz="4800" dirty="0"/>
              <a:t>40 (48) 60 </a:t>
            </a:r>
            <a:r>
              <a:rPr lang="en-US" sz="4800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2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73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40)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ext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967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E198EE4-7577-48CC-BEE1-079EA4358B4F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201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195021C-2F68-474E-92F4-34C464590BB3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909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D7008DB-E21A-4E15-9028-84B457E8C3CB}" type="datetime1">
              <a:rPr lang="en-US" noProof="0" smtClean="0"/>
              <a:t>1/13/2020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>
          <a:xfrm>
            <a:off x="4662000" y="5832001"/>
            <a:ext cx="5148000" cy="32400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1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1989" tIns="71989" rIns="71989" bIns="71989" rtlCol="0" anchor="ctr"/>
          <a:lstStyle/>
          <a:p>
            <a:pPr indent="3174" algn="ctr" defTabSz="457201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2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5999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de-DE"/>
              <a:t>Inhalt/</a:t>
            </a:r>
            <a:br>
              <a:rPr lang="de-DE"/>
            </a:br>
            <a:r>
              <a:rPr lang="de-DE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98568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582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2111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695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6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1229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349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36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1048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153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0597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254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091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613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53415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486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0257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90587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fld id="{C729841D-911E-4A9A-9390-E2BDDC447CC2}" type="datetime1">
              <a:rPr lang="en-US" smtClean="0"/>
              <a:t>1/13/2020</a:t>
            </a:fld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10" name="Grafik 9" descr="T_Logo_3c_Slogan_p_INT.emf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  <p:sp>
        <p:nvSpPr>
          <p:cNvPr id="9" name="Fußzeilenplatzhalter 4"/>
          <p:cNvSpPr txBox="1">
            <a:spLocks/>
          </p:cNvSpPr>
          <p:nvPr userDrawn="1"/>
        </p:nvSpPr>
        <p:spPr bwMode="gray">
          <a:xfrm>
            <a:off x="4658400" y="5832001"/>
            <a:ext cx="5148000" cy="324000"/>
          </a:xfrm>
          <a:prstGeom prst="rect">
            <a:avLst/>
          </a:prstGeom>
          <a:noFill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latin typeface="TeleGrotesk Next" pitchFamily="2" charset="0"/>
                <a:cs typeface="TeleGrotesk Next" pitchFamily="2" charset="0"/>
              </a:defRPr>
            </a:lvl1pPr>
          </a:lstStyle>
          <a:p>
            <a:pPr lvl="0" algn="ctr"/>
            <a:r>
              <a:rPr lang="en-US" dirty="0"/>
              <a:t>– Strictly confidential, Confidential, Internal –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86" r:id="rId8"/>
    <p:sldLayoutId id="2147483987" r:id="rId9"/>
    <p:sldLayoutId id="2147483988" r:id="rId10"/>
    <p:sldLayoutId id="2147483989" r:id="rId11"/>
    <p:sldLayoutId id="2147483718" r:id="rId12"/>
    <p:sldLayoutId id="2147483722" r:id="rId13"/>
    <p:sldLayoutId id="2147483723" r:id="rId14"/>
    <p:sldLayoutId id="2147483969" r:id="rId15"/>
    <p:sldLayoutId id="2147483970" r:id="rId16"/>
    <p:sldLayoutId id="2147483972" r:id="rId17"/>
    <p:sldLayoutId id="2147483971" r:id="rId18"/>
    <p:sldLayoutId id="2147483973" r:id="rId19"/>
    <p:sldLayoutId id="2147483716" r:id="rId20"/>
    <p:sldLayoutId id="2147483898" r:id="rId21"/>
    <p:sldLayoutId id="2147483711" r:id="rId22"/>
    <p:sldLayoutId id="2147483930" r:id="rId23"/>
    <p:sldLayoutId id="2147483959" r:id="rId24"/>
    <p:sldLayoutId id="2147483960" r:id="rId25"/>
    <p:sldLayoutId id="2147483997" r:id="rId26"/>
  </p:sldLayoutIdLst>
  <p:hf hdr="0" ftr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TeleGrotesk Next Ultra" pitchFamily="2" charset="0"/>
          <a:ea typeface="+mj-ea"/>
          <a:cs typeface="TeleGrotesk Next Ultra" pitchFamily="2" charset="0"/>
          <a:sym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  <a:sym typeface="Blackadder ITC" panose="04020505051007020D02" pitchFamily="82" charset="0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4.xml"/><Relationship Id="rId9" Type="http://schemas.openxmlformats.org/officeDocument/2006/relationships/hyperlink" Target="https://gard.telekom.de/gardwiki/display/AUTOLAB/LaaS%3A+Open+Source+Evaluation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239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23851" y="3240086"/>
            <a:ext cx="10874374" cy="2093913"/>
          </a:xfrm>
        </p:spPr>
        <p:txBody>
          <a:bodyPr/>
          <a:lstStyle/>
          <a:p>
            <a:r>
              <a:rPr lang="hr-HR" cap="none" dirty="0"/>
              <a:t>A</a:t>
            </a:r>
            <a:r>
              <a:rPr lang="en-US" cap="none" dirty="0" err="1"/>
              <a:t>utomated</a:t>
            </a:r>
            <a:r>
              <a:rPr lang="en-US" cap="none" dirty="0"/>
              <a:t> Lab-as-a-Service</a:t>
            </a:r>
            <a:br>
              <a:rPr lang="en-US" cap="none" dirty="0"/>
            </a:br>
            <a:r>
              <a:rPr lang="en-US" sz="4400" cap="none" dirty="0"/>
              <a:t>LaaS: Open Source Evaluation</a:t>
            </a:r>
            <a:endParaRPr lang="en-US" cap="none" dirty="0">
              <a:latin typeface="TeleGrotesk Headline" pitchFamily="2" charset="0"/>
            </a:endParaRPr>
          </a:p>
        </p:txBody>
      </p:sp>
      <p:sp>
        <p:nvSpPr>
          <p:cNvPr id="3" name="Rechteck 2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7391888</a:t>
            </a:r>
            <a:endParaRPr lang="de-DE" sz="100" dirty="0" err="1">
              <a:cs typeface="Arial" charset="0"/>
            </a:endParaRPr>
          </a:p>
        </p:txBody>
      </p:sp>
      <p:sp>
        <p:nvSpPr>
          <p:cNvPr id="6" name="Rechteck 5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9039328</a:t>
            </a:r>
            <a:endParaRPr lang="de-DE" sz="100" dirty="0" err="1">
              <a:cs typeface="Arial" charset="0"/>
            </a:endParaRPr>
          </a:p>
        </p:txBody>
      </p:sp>
      <p:sp>
        <p:nvSpPr>
          <p:cNvPr id="7" name="Rechteck 6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7391888</a:t>
            </a:r>
            <a:endParaRPr lang="de-DE" sz="100" dirty="0" err="1">
              <a:cs typeface="Arial" charset="0"/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9039328</a:t>
            </a:r>
            <a:endParaRPr lang="de-DE" sz="100" dirty="0" err="1">
              <a:cs typeface="Arial" charset="0"/>
            </a:endParaRPr>
          </a:p>
        </p:txBody>
      </p:sp>
      <p:sp>
        <p:nvSpPr>
          <p:cNvPr id="9" name="Rechteck 8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7391888</a:t>
            </a:r>
            <a:endParaRPr lang="de-DE" sz="100" dirty="0" err="1">
              <a:cs typeface="Arial" charset="0"/>
            </a:endParaRPr>
          </a:p>
        </p:txBody>
      </p:sp>
      <p:sp>
        <p:nvSpPr>
          <p:cNvPr id="10" name="Rechteck 9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9039328</a:t>
            </a:r>
            <a:endParaRPr lang="de-DE" sz="100" dirty="0" err="1">
              <a:cs typeface="Arial" charset="0"/>
            </a:endParaRPr>
          </a:p>
        </p:txBody>
      </p:sp>
      <p:sp>
        <p:nvSpPr>
          <p:cNvPr id="11" name="Rechteck 10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7391888</a:t>
            </a:r>
            <a:endParaRPr lang="de-DE" sz="100" dirty="0" err="1">
              <a:cs typeface="Arial" charset="0"/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9039328</a:t>
            </a:r>
            <a:endParaRPr lang="de-DE" sz="100" dirty="0" err="1">
              <a:cs typeface="Arial" charset="0"/>
            </a:endParaRPr>
          </a:p>
        </p:txBody>
      </p:sp>
      <p:sp>
        <p:nvSpPr>
          <p:cNvPr id="13" name="Rechteck 12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7391888</a:t>
            </a:r>
            <a:endParaRPr lang="de-DE" sz="100" dirty="0" err="1">
              <a:cs typeface="Arial" charset="0"/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00">
                <a:cs typeface="Arial" charset="0"/>
              </a:rPr>
              <a:t>259039328</a:t>
            </a:r>
            <a:endParaRPr lang="de-DE" sz="1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897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ADC1BB8-52F8-4B9A-95DB-830AA6ECCA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AT" dirty="0"/>
              <a:t>Agenda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0EF17EC-295F-4C91-8A53-A30A7877991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36277" y="1001648"/>
            <a:ext cx="4574510" cy="4860925"/>
          </a:xfrm>
        </p:spPr>
        <p:txBody>
          <a:bodyPr/>
          <a:lstStyle/>
          <a:p>
            <a:pPr marL="285692" indent="-28569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Objective</a:t>
            </a:r>
          </a:p>
          <a:p>
            <a:pPr marL="285692" indent="-28569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List of LaaS Features</a:t>
            </a:r>
          </a:p>
          <a:p>
            <a:pPr marL="285692" indent="-28569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Key considerations for evaluation</a:t>
            </a:r>
          </a:p>
          <a:p>
            <a:pPr marL="285692" indent="-28569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Evaluated tools</a:t>
            </a:r>
          </a:p>
          <a:p>
            <a:pPr marL="285692" indent="-285692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Recommended tools</a:t>
            </a:r>
          </a:p>
          <a:p>
            <a:pPr marL="287280" lvl="1" indent="-285692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15957" lvl="3" indent="0">
              <a:spcAft>
                <a:spcPts val="600"/>
              </a:spcAft>
              <a:buClr>
                <a:srgbClr val="000000"/>
              </a:buClr>
              <a:buNone/>
            </a:pPr>
            <a:endParaRPr lang="de-AT" sz="1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051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710ACA-F01F-4641-ADBA-E67127E04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54" y="187197"/>
            <a:ext cx="10872000" cy="504000"/>
          </a:xfrm>
        </p:spPr>
        <p:txBody>
          <a:bodyPr/>
          <a:lstStyle/>
          <a:p>
            <a:r>
              <a:rPr lang="en-US" dirty="0"/>
              <a:t>Objective</a:t>
            </a:r>
            <a:endParaRPr lang="en-IN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D8BA74-4772-43BF-95B3-61A07CFBFD86}"/>
              </a:ext>
            </a:extLst>
          </p:cNvPr>
          <p:cNvSpPr txBox="1"/>
          <p:nvPr/>
        </p:nvSpPr>
        <p:spPr bwMode="gray">
          <a:xfrm>
            <a:off x="401003" y="981905"/>
            <a:ext cx="10764303" cy="45141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Below is the main objective of the activity: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o evaluate the various open-source tools available to deliver the identified features for Laa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o recommend the best open-source tool out of the available op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800" b="1" dirty="0">
              <a:solidFill>
                <a:srgbClr val="0033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800" b="1" dirty="0">
              <a:solidFill>
                <a:srgbClr val="0033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800" b="1" dirty="0">
              <a:solidFill>
                <a:srgbClr val="0033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N" sz="1800" b="1" dirty="0" err="1"/>
          </a:p>
        </p:txBody>
      </p:sp>
    </p:spTree>
    <p:extLst>
      <p:ext uri="{BB962C8B-B14F-4D97-AF65-F5344CB8AC3E}">
        <p14:creationId xmlns:p14="http://schemas.microsoft.com/office/powerpoint/2010/main" val="2200117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710ACA-F01F-4641-ADBA-E67127E04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54" y="225698"/>
            <a:ext cx="10872000" cy="504000"/>
          </a:xfrm>
        </p:spPr>
        <p:txBody>
          <a:bodyPr/>
          <a:lstStyle/>
          <a:p>
            <a:r>
              <a:rPr lang="en-US" dirty="0"/>
              <a:t>List of LAAS features</a:t>
            </a:r>
            <a:br>
              <a:rPr lang="en-US" dirty="0"/>
            </a:br>
            <a:endParaRPr lang="en-IN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D8BA74-4772-43BF-95B3-61A07CFBFD86}"/>
              </a:ext>
            </a:extLst>
          </p:cNvPr>
          <p:cNvSpPr txBox="1"/>
          <p:nvPr/>
        </p:nvSpPr>
        <p:spPr bwMode="gray">
          <a:xfrm>
            <a:off x="401003" y="981905"/>
            <a:ext cx="10764303" cy="451411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Service Reques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hange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nection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ventory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Asset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cess Autom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Blueprint Orchestr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apacity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servation Manage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800" b="1" dirty="0">
              <a:solidFill>
                <a:srgbClr val="0033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800" b="1" dirty="0">
              <a:solidFill>
                <a:srgbClr val="0033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800" b="1" dirty="0">
              <a:solidFill>
                <a:srgbClr val="0033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N" sz="1800" b="1" dirty="0" err="1"/>
          </a:p>
        </p:txBody>
      </p:sp>
    </p:spTree>
    <p:extLst>
      <p:ext uri="{BB962C8B-B14F-4D97-AF65-F5344CB8AC3E}">
        <p14:creationId xmlns:p14="http://schemas.microsoft.com/office/powerpoint/2010/main" val="631927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2563" name="Rectangle 16"/>
          <p:cNvSpPr>
            <a:spLocks noGrp="1" noChangeArrowheads="1"/>
          </p:cNvSpPr>
          <p:nvPr>
            <p:ph type="title"/>
          </p:nvPr>
        </p:nvSpPr>
        <p:spPr>
          <a:xfrm>
            <a:off x="356134" y="252000"/>
            <a:ext cx="10839865" cy="1041934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Key considerations for evaluatio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3972B7-28AF-4AFA-83B8-2733DA542B25}"/>
              </a:ext>
            </a:extLst>
          </p:cNvPr>
          <p:cNvSpPr txBox="1"/>
          <p:nvPr/>
        </p:nvSpPr>
        <p:spPr bwMode="gray">
          <a:xfrm>
            <a:off x="356134" y="957134"/>
            <a:ext cx="10839866" cy="4271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While evaluating the open-source tools for the identified features, below criteria have been kept in consideration:</a:t>
            </a:r>
          </a:p>
          <a:p>
            <a:endParaRPr lang="en-US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Open source license type should not be GPL (General Public License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Scalable for future requiremen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Flexible and easy to integrate with other tools and system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Documentation availability for installation and usag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Support available from community</a:t>
            </a:r>
          </a:p>
          <a:p>
            <a:endParaRPr lang="en-IN" sz="1800" b="1" dirty="0" err="1"/>
          </a:p>
        </p:txBody>
      </p:sp>
    </p:spTree>
    <p:extLst>
      <p:ext uri="{BB962C8B-B14F-4D97-AF65-F5344CB8AC3E}">
        <p14:creationId xmlns:p14="http://schemas.microsoft.com/office/powerpoint/2010/main" val="11932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CE716F34-420F-4CB2-B2BD-90523AA70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Evaluated Too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794FDE-6731-40BA-9A0F-A640CA076486}"/>
              </a:ext>
            </a:extLst>
          </p:cNvPr>
          <p:cNvSpPr txBox="1"/>
          <p:nvPr/>
        </p:nvSpPr>
        <p:spPr bwMode="gray">
          <a:xfrm>
            <a:off x="1963554" y="151116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IN"/>
              <a:t> </a:t>
            </a:r>
            <a:endParaRPr lang="en-IN" sz="180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A9CE09-3335-4396-8341-7337FDD2EFE2}"/>
              </a:ext>
            </a:extLst>
          </p:cNvPr>
          <p:cNvSpPr/>
          <p:nvPr/>
        </p:nvSpPr>
        <p:spPr>
          <a:xfrm>
            <a:off x="5631836" y="3016950"/>
            <a:ext cx="258404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B02400-25EA-4F8E-B4AA-52181BBA80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4000" y="825449"/>
            <a:ext cx="6317432" cy="41361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B5B3116-A5DF-4746-938E-27E3827A82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5175" y="1777597"/>
            <a:ext cx="2790825" cy="22669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FE087CD-BA32-4B0A-9796-123D9FB83DBF}"/>
              </a:ext>
            </a:extLst>
          </p:cNvPr>
          <p:cNvSpPr txBox="1"/>
          <p:nvPr/>
        </p:nvSpPr>
        <p:spPr bwMode="gray">
          <a:xfrm>
            <a:off x="394636" y="5168766"/>
            <a:ext cx="10655166" cy="504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800" dirty="0"/>
              <a:t>Ref: </a:t>
            </a:r>
            <a:r>
              <a:rPr lang="en-US" sz="1800" dirty="0">
                <a:hlinkClick r:id="rId9"/>
              </a:rPr>
              <a:t>https://gard.telekom.de/gardwiki/display/AUTOLAB/LaaS%3A+Open+Source+Evaluatio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4064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CE716F34-420F-4CB2-B2BD-90523AA70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213499"/>
            <a:ext cx="10872000" cy="504000"/>
          </a:xfrm>
        </p:spPr>
        <p:txBody>
          <a:bodyPr/>
          <a:lstStyle/>
          <a:p>
            <a:r>
              <a:rPr lang="en-IN" dirty="0"/>
              <a:t>Recommended Too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794FDE-6731-40BA-9A0F-A640CA076486}"/>
              </a:ext>
            </a:extLst>
          </p:cNvPr>
          <p:cNvSpPr txBox="1"/>
          <p:nvPr/>
        </p:nvSpPr>
        <p:spPr bwMode="gray">
          <a:xfrm>
            <a:off x="1963554" y="151116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IN"/>
              <a:t> </a:t>
            </a:r>
            <a:endParaRPr lang="en-IN" sz="180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A9CE09-3335-4396-8341-7337FDD2EFE2}"/>
              </a:ext>
            </a:extLst>
          </p:cNvPr>
          <p:cNvSpPr/>
          <p:nvPr/>
        </p:nvSpPr>
        <p:spPr>
          <a:xfrm>
            <a:off x="5631836" y="3016950"/>
            <a:ext cx="258404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8C9EC6-9058-4843-9D34-694671DBF2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4000" y="830211"/>
            <a:ext cx="5181600" cy="4608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95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9442" y="2395842"/>
            <a:ext cx="5113337" cy="2492990"/>
          </a:xfrm>
        </p:spPr>
        <p:txBody>
          <a:bodyPr/>
          <a:lstStyle/>
          <a:p>
            <a:r>
              <a:rPr lang="en-US" dirty="0"/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188138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2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4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Powerpoint-Master_HR_16x9_May_2018.potx" id="{C7665C40-6D48-4B43-B799-E5E80B2DB342}" vid="{B0F425BF-7E78-4EC3-88D0-188C03CDCBD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58BDE2B25754D896149302446BD81" ma:contentTypeVersion="4" ma:contentTypeDescription="Create a new document." ma:contentTypeScope="" ma:versionID="5a622c95cd6ead8fa8194a50f100b401">
  <xsd:schema xmlns:xsd="http://www.w3.org/2001/XMLSchema" xmlns:xs="http://www.w3.org/2001/XMLSchema" xmlns:p="http://schemas.microsoft.com/office/2006/metadata/properties" xmlns:ns2="04433624-1a94-42fa-84d2-280d3af2e600" targetNamespace="http://schemas.microsoft.com/office/2006/metadata/properties" ma:root="true" ma:fieldsID="87158f57bdeec7e55ef03dfcbf1c0d3a" ns2:_="">
    <xsd:import namespace="04433624-1a94-42fa-84d2-280d3af2e6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433624-1a94-42fa-84d2-280d3af2e6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8BEB90E-FFA2-416E-B148-FD3006C4F1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1338D9-CEE0-4D98-B1D2-D1F46BF822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433624-1a94-42fa-84d2-280d3af2e6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0E84DAD-4879-44B8-904E-8CDC3E4BDCC0}">
  <ds:schemaRefs>
    <ds:schemaRef ds:uri="04433624-1a94-42fa-84d2-280d3af2e600"/>
    <ds:schemaRef ds:uri="http://purl.org/dc/terms/"/>
    <ds:schemaRef ds:uri="http://purl.org/dc/elements/1.1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1</Words>
  <Application>Microsoft Office PowerPoint</Application>
  <PresentationFormat>Custom</PresentationFormat>
  <Paragraphs>76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TeleGrotesk Headline</vt:lpstr>
      <vt:lpstr>TeleGrotesk Next</vt:lpstr>
      <vt:lpstr>TeleGrotesk Next Ultra</vt:lpstr>
      <vt:lpstr>Tele-GroteskUlt</vt:lpstr>
      <vt:lpstr>Times New Roman</vt:lpstr>
      <vt:lpstr>Wingdings</vt:lpstr>
      <vt:lpstr>Wingdings 2</vt:lpstr>
      <vt:lpstr>Telekom 16:9 2016 EN</vt:lpstr>
      <vt:lpstr>think-cell Slide</vt:lpstr>
      <vt:lpstr>think-cell Folie</vt:lpstr>
      <vt:lpstr>Automated Lab-as-a-Service LaaS: Open Source Evaluation</vt:lpstr>
      <vt:lpstr>Agenda</vt:lpstr>
      <vt:lpstr>Objective</vt:lpstr>
      <vt:lpstr>List of LAAS features </vt:lpstr>
      <vt:lpstr>Key considerations for evaluation</vt:lpstr>
      <vt:lpstr>Evaluated Tools</vt:lpstr>
      <vt:lpstr>Recommended Tools</vt:lpstr>
      <vt:lpstr>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ed Lab-as-a-Service High Level Solution Architecture</dc:title>
  <dc:creator/>
  <cp:lastModifiedBy/>
  <cp:revision>1</cp:revision>
  <dcterms:created xsi:type="dcterms:W3CDTF">2018-06-15T07:54:50Z</dcterms:created>
  <dcterms:modified xsi:type="dcterms:W3CDTF">2020-01-13T10:0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082433d-79bb-41eb-870c-2fb03c00b019_Enabled">
    <vt:lpwstr>True</vt:lpwstr>
  </property>
  <property fmtid="{D5CDD505-2E9C-101B-9397-08002B2CF9AE}" pid="3" name="MSIP_Label_8082433d-79bb-41eb-870c-2fb03c00b019_SiteId">
    <vt:lpwstr>a45fe71a-f480-4e42-ad5e-aff33165aa35</vt:lpwstr>
  </property>
  <property fmtid="{D5CDD505-2E9C-101B-9397-08002B2CF9AE}" pid="4" name="MSIP_Label_8082433d-79bb-41eb-870c-2fb03c00b019_Owner">
    <vt:lpwstr>arun.gupta@nagarro.com</vt:lpwstr>
  </property>
  <property fmtid="{D5CDD505-2E9C-101B-9397-08002B2CF9AE}" pid="5" name="MSIP_Label_8082433d-79bb-41eb-870c-2fb03c00b019_SetDate">
    <vt:lpwstr>2019-11-27T15:55:49.6443757Z</vt:lpwstr>
  </property>
  <property fmtid="{D5CDD505-2E9C-101B-9397-08002B2CF9AE}" pid="6" name="MSIP_Label_8082433d-79bb-41eb-870c-2fb03c00b019_Name">
    <vt:lpwstr>Public</vt:lpwstr>
  </property>
  <property fmtid="{D5CDD505-2E9C-101B-9397-08002B2CF9AE}" pid="7" name="MSIP_Label_8082433d-79bb-41eb-870c-2fb03c00b019_Application">
    <vt:lpwstr>Microsoft Azure Information Protection</vt:lpwstr>
  </property>
  <property fmtid="{D5CDD505-2E9C-101B-9397-08002B2CF9AE}" pid="8" name="MSIP_Label_8082433d-79bb-41eb-870c-2fb03c00b019_ActionId">
    <vt:lpwstr>0ff2f524-60e6-442a-a138-4768ed8988b2</vt:lpwstr>
  </property>
  <property fmtid="{D5CDD505-2E9C-101B-9397-08002B2CF9AE}" pid="9" name="MSIP_Label_8082433d-79bb-41eb-870c-2fb03c00b019_Extended_MSFT_Method">
    <vt:lpwstr>Manual</vt:lpwstr>
  </property>
  <property fmtid="{D5CDD505-2E9C-101B-9397-08002B2CF9AE}" pid="10" name="Sensitivity">
    <vt:lpwstr>Public</vt:lpwstr>
  </property>
  <property fmtid="{D5CDD505-2E9C-101B-9397-08002B2CF9AE}" pid="11" name="ContentTypeId">
    <vt:lpwstr>0x01010046358BDE2B25754D896149302446BD81</vt:lpwstr>
  </property>
</Properties>
</file>